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heme/theme2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2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3.xml" ContentType="application/vnd.openxmlformats-officedocument.presentationml.notesSlide+xml"/>
  <Override PartName="/ppt/tags/tag74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"/>
  </p:notesMasterIdLst>
  <p:sldIdLst>
    <p:sldId id="258" r:id="rId2"/>
    <p:sldId id="261" r:id="rId3"/>
    <p:sldId id="262" r:id="rId4"/>
    <p:sldId id="257" r:id="rId5"/>
  </p:sldIdLst>
  <p:sldSz cx="9144000" cy="6858000" type="screen4x3"/>
  <p:notesSz cx="6858000" cy="9144000"/>
  <p:custDataLst>
    <p:tags r:id="rId7"/>
  </p:custDataLst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92">
          <p15:clr>
            <a:srgbClr val="A4A3A4"/>
          </p15:clr>
        </p15:guide>
        <p15:guide id="2" orient="horz" pos="3850">
          <p15:clr>
            <a:srgbClr val="A4A3A4"/>
          </p15:clr>
        </p15:guide>
        <p15:guide id="3" pos="2880">
          <p15:clr>
            <a:srgbClr val="A4A3A4"/>
          </p15:clr>
        </p15:guide>
        <p15:guide id="4" pos="181">
          <p15:clr>
            <a:srgbClr val="A4A3A4"/>
          </p15:clr>
        </p15:guide>
        <p15:guide id="5" pos="55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F6F0"/>
    <a:srgbClr val="FBD5B5"/>
    <a:srgbClr val="B8CCE4"/>
    <a:srgbClr val="68CCE4"/>
    <a:srgbClr val="B9CDE5"/>
    <a:srgbClr val="95B3D7"/>
    <a:srgbClr val="1BA3B1"/>
    <a:srgbClr val="1CB0A9"/>
    <a:srgbClr val="00CC99"/>
    <a:srgbClr val="2440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046" autoAdjust="0"/>
    <p:restoredTop sz="94660"/>
  </p:normalViewPr>
  <p:slideViewPr>
    <p:cSldViewPr snapToGrid="0">
      <p:cViewPr varScale="1">
        <p:scale>
          <a:sx n="88" d="100"/>
          <a:sy n="88" d="100"/>
        </p:scale>
        <p:origin x="1746" y="126"/>
      </p:cViewPr>
      <p:guideLst>
        <p:guide orient="horz" pos="792"/>
        <p:guide orient="horz" pos="3850"/>
        <p:guide pos="2880"/>
        <p:guide pos="181"/>
        <p:guide pos="555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ndara"/>
                <a:sym typeface="Candara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ndara"/>
                <a:sym typeface="Candara"/>
              </a:defRPr>
            </a:lvl1pPr>
          </a:lstStyle>
          <a:p>
            <a:fld id="{C05DC3C3-82F0-4D9B-905B-D410E9D2B4EF}" type="datetimeFigureOut">
              <a:rPr lang="en-US" smtClean="0"/>
              <a:pPr/>
              <a:t>12/2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ndara"/>
                <a:sym typeface="Candara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ndara"/>
                <a:sym typeface="Candara"/>
              </a:defRPr>
            </a:lvl1pPr>
          </a:lstStyle>
          <a:p>
            <a:fld id="{922BCB6B-DDD0-410F-889F-FEC5002ABB12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089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46314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8862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5335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06261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image" Target="../media/image2.png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image" Target="../media/image4.jpeg"/><Relationship Id="rId2" Type="http://schemas.openxmlformats.org/officeDocument/2006/relationships/tags" Target="../tags/tag10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oleObject" Target="../embeddings/oleObject2.bin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3.v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4.v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10" Type="http://schemas.openxmlformats.org/officeDocument/2006/relationships/image" Target="../media/image1.emf"/><Relationship Id="rId4" Type="http://schemas.openxmlformats.org/officeDocument/2006/relationships/tags" Target="../tags/tag29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1.emf"/><Relationship Id="rId2" Type="http://schemas.openxmlformats.org/officeDocument/2006/relationships/tags" Target="../tags/tag33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5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image" Target="../media/image5.jpeg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image" Target="../media/image2.png"/><Relationship Id="rId2" Type="http://schemas.openxmlformats.org/officeDocument/2006/relationships/tags" Target="../tags/tag36.xml"/><Relationship Id="rId1" Type="http://schemas.openxmlformats.org/officeDocument/2006/relationships/vmlDrawing" Target="../drawings/vmlDrawing6.vml"/><Relationship Id="rId6" Type="http://schemas.openxmlformats.org/officeDocument/2006/relationships/tags" Target="../tags/tag40.xml"/><Relationship Id="rId11" Type="http://schemas.openxmlformats.org/officeDocument/2006/relationships/image" Target="../media/image1.emf"/><Relationship Id="rId5" Type="http://schemas.openxmlformats.org/officeDocument/2006/relationships/tags" Target="../tags/tag39.xml"/><Relationship Id="rId10" Type="http://schemas.openxmlformats.org/officeDocument/2006/relationships/oleObject" Target="../embeddings/oleObject6.bin"/><Relationship Id="rId4" Type="http://schemas.openxmlformats.org/officeDocument/2006/relationships/tags" Target="../tags/tag38.xml"/><Relationship Id="rId9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4.xml"/><Relationship Id="rId7" Type="http://schemas.openxmlformats.org/officeDocument/2006/relationships/oleObject" Target="../embeddings/oleObject7.bin"/><Relationship Id="rId2" Type="http://schemas.openxmlformats.org/officeDocument/2006/relationships/tags" Target="../tags/tag43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6.xml"/><Relationship Id="rId4" Type="http://schemas.openxmlformats.org/officeDocument/2006/relationships/tags" Target="../tags/tag45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12" Type="http://schemas.openxmlformats.org/officeDocument/2006/relationships/image" Target="../media/image6.jpeg"/><Relationship Id="rId2" Type="http://schemas.openxmlformats.org/officeDocument/2006/relationships/tags" Target="../tags/tag47.xml"/><Relationship Id="rId1" Type="http://schemas.openxmlformats.org/officeDocument/2006/relationships/vmlDrawing" Target="../drawings/vmlDrawing8.vml"/><Relationship Id="rId6" Type="http://schemas.openxmlformats.org/officeDocument/2006/relationships/tags" Target="../tags/tag51.xml"/><Relationship Id="rId11" Type="http://schemas.openxmlformats.org/officeDocument/2006/relationships/image" Target="../media/image2.png"/><Relationship Id="rId5" Type="http://schemas.openxmlformats.org/officeDocument/2006/relationships/tags" Target="../tags/tag50.xml"/><Relationship Id="rId10" Type="http://schemas.openxmlformats.org/officeDocument/2006/relationships/image" Target="../media/image1.emf"/><Relationship Id="rId4" Type="http://schemas.openxmlformats.org/officeDocument/2006/relationships/tags" Target="../tags/tag49.xml"/><Relationship Id="rId9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vmlDrawing" Target="../drawings/vmlDrawing9.v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image" Target="../media/image1.emf"/><Relationship Id="rId4" Type="http://schemas.openxmlformats.org/officeDocument/2006/relationships/tags" Target="../tags/tag55.xml"/><Relationship Id="rId9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44462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0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>
            <p:custDataLst>
              <p:tags r:id="rId3"/>
            </p:custDataLst>
          </p:nvPr>
        </p:nvSpPr>
        <p:spPr>
          <a:xfrm>
            <a:off x="1" y="4619624"/>
            <a:ext cx="9144000" cy="22431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15" name="Rectangle 14"/>
          <p:cNvSpPr/>
          <p:nvPr userDrawn="1">
            <p:custDataLst>
              <p:tags r:id="rId4"/>
            </p:custDataLst>
          </p:nvPr>
        </p:nvSpPr>
        <p:spPr>
          <a:xfrm>
            <a:off x="1" y="-9524"/>
            <a:ext cx="9144000" cy="3433762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/>
          <p:cNvSpPr/>
          <p:nvPr userDrawn="1">
            <p:custDataLst>
              <p:tags r:id="rId5"/>
            </p:custDataLst>
          </p:nvPr>
        </p:nvSpPr>
        <p:spPr>
          <a:xfrm>
            <a:off x="1838325" y="3383280"/>
            <a:ext cx="7305676" cy="4762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>
          <a:xfrm>
            <a:off x="2313084" y="1690686"/>
            <a:ext cx="5833110" cy="1470025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s-CO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2313084" y="3467100"/>
            <a:ext cx="5852160" cy="619125"/>
          </a:xfrm>
        </p:spPr>
        <p:txBody>
          <a:bodyPr lIns="0" tIns="0" rIns="0" bIns="0"/>
          <a:lstStyle>
            <a:lvl1pPr marL="0" indent="0" algn="l">
              <a:buNone/>
              <a:defRPr sz="1800" b="0">
                <a:solidFill>
                  <a:schemeClr val="accent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s-CO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2313084" y="4181475"/>
            <a:ext cx="3219450" cy="361950"/>
          </a:xfrm>
        </p:spPr>
        <p:txBody>
          <a:bodyPr lIns="0" tIns="0" rIns="0" bIns="0" anchor="ctr"/>
          <a:lstStyle>
            <a:lvl1pPr marL="0" indent="0" algn="l">
              <a:buNone/>
              <a:defRPr sz="1400" b="0">
                <a:solidFill>
                  <a:schemeClr val="accent3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6" name="Pentagon 5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989056" cy="4619624"/>
          </a:xfrm>
          <a:custGeom>
            <a:avLst/>
            <a:gdLst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410691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036980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750733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592248 w 2095500"/>
              <a:gd name="connsiteY3" fmla="*/ 4622800 h 6867525"/>
              <a:gd name="connsiteX4" fmla="*/ 750733 w 2095500"/>
              <a:gd name="connsiteY4" fmla="*/ 6867525 h 6867525"/>
              <a:gd name="connsiteX5" fmla="*/ 0 w 2095500"/>
              <a:gd name="connsiteY5" fmla="*/ 6867525 h 6867525"/>
              <a:gd name="connsiteX6" fmla="*/ 0 w 2095500"/>
              <a:gd name="connsiteY6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58685 w 2103452"/>
              <a:gd name="connsiteY4" fmla="*/ 6867525 h 6867525"/>
              <a:gd name="connsiteX5" fmla="*/ 7952 w 2103452"/>
              <a:gd name="connsiteY5" fmla="*/ 6867525 h 6867525"/>
              <a:gd name="connsiteX6" fmla="*/ 0 w 2103452"/>
              <a:gd name="connsiteY6" fmla="*/ 4635500 h 6867525"/>
              <a:gd name="connsiteX7" fmla="*/ 7952 w 2103452"/>
              <a:gd name="connsiteY7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952 w 2103452"/>
              <a:gd name="connsiteY4" fmla="*/ 6867525 h 6867525"/>
              <a:gd name="connsiteX5" fmla="*/ 0 w 2103452"/>
              <a:gd name="connsiteY5" fmla="*/ 4635500 h 6867525"/>
              <a:gd name="connsiteX6" fmla="*/ 7952 w 2103452"/>
              <a:gd name="connsiteY6" fmla="*/ 0 h 6867525"/>
              <a:gd name="connsiteX0" fmla="*/ 7952 w 2103452"/>
              <a:gd name="connsiteY0" fmla="*/ 0 h 4635500"/>
              <a:gd name="connsiteX1" fmla="*/ 1418643 w 2103452"/>
              <a:gd name="connsiteY1" fmla="*/ 0 h 4635500"/>
              <a:gd name="connsiteX2" fmla="*/ 2103452 w 2103452"/>
              <a:gd name="connsiteY2" fmla="*/ 3433763 h 4635500"/>
              <a:gd name="connsiteX3" fmla="*/ 1600200 w 2103452"/>
              <a:gd name="connsiteY3" fmla="*/ 4622800 h 4635500"/>
              <a:gd name="connsiteX4" fmla="*/ 0 w 2103452"/>
              <a:gd name="connsiteY4" fmla="*/ 4635500 h 4635500"/>
              <a:gd name="connsiteX5" fmla="*/ 7952 w 2103452"/>
              <a:gd name="connsiteY5" fmla="*/ 0 h 463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452" h="4635500">
                <a:moveTo>
                  <a:pt x="7952" y="0"/>
                </a:moveTo>
                <a:lnTo>
                  <a:pt x="1418643" y="0"/>
                </a:lnTo>
                <a:lnTo>
                  <a:pt x="2103452" y="3433763"/>
                </a:lnTo>
                <a:lnTo>
                  <a:pt x="1600200" y="4622800"/>
                </a:lnTo>
                <a:lnTo>
                  <a:pt x="0" y="4635500"/>
                </a:lnTo>
                <a:cubicBezTo>
                  <a:pt x="2651" y="3090333"/>
                  <a:pt x="5301" y="1545167"/>
                  <a:pt x="79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2" name="Group 21"/>
          <p:cNvGrpSpPr/>
          <p:nvPr userDrawn="1">
            <p:custDataLst>
              <p:tags r:id="rId10"/>
            </p:custDataLst>
          </p:nvPr>
        </p:nvGrpSpPr>
        <p:grpSpPr>
          <a:xfrm>
            <a:off x="-1057274" y="-484331"/>
            <a:ext cx="3046330" cy="4954730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8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</p:grpSp>
      <p:sp>
        <p:nvSpPr>
          <p:cNvPr id="25" name="Rectangle 24"/>
          <p:cNvSpPr/>
          <p:nvPr userDrawn="1">
            <p:custDataLst>
              <p:tags r:id="rId11"/>
            </p:custDataLst>
          </p:nvPr>
        </p:nvSpPr>
        <p:spPr>
          <a:xfrm>
            <a:off x="0" y="4617720"/>
            <a:ext cx="9144001" cy="4762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921028" y="5053846"/>
            <a:ext cx="3918389" cy="1453840"/>
            <a:chOff x="4921028" y="5053846"/>
            <a:chExt cx="3918389" cy="1453840"/>
          </a:xfrm>
        </p:grpSpPr>
        <p:pic>
          <p:nvPicPr>
            <p:cNvPr id="23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12"/>
              </p:custDataLst>
            </p:nvPr>
          </p:nvPicPr>
          <p:blipFill rotWithShape="1">
            <a:blip r:embed="rId17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4921028" y="5467432"/>
              <a:ext cx="718653" cy="7091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" name="Picture 23"/>
            <p:cNvPicPr>
              <a:picLocks noChangeAspect="1"/>
            </p:cNvPicPr>
            <p:nvPr userDrawn="1">
              <p:custDataLst>
                <p:tags r:id="rId13"/>
              </p:custDataLst>
            </p:nvPr>
          </p:nvPicPr>
          <p:blipFill>
            <a:blip r:embed="rId1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38813" y="5053846"/>
              <a:ext cx="3100604" cy="14538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146757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45907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0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Marcador de contenido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>
            <a:lvl1pPr algn="just">
              <a:defRPr sz="1600" b="1"/>
            </a:lvl1pPr>
            <a:lvl2pPr algn="just">
              <a:defRPr sz="1600"/>
            </a:lvl2pPr>
            <a:lvl3pPr algn="just">
              <a:defRPr sz="1600"/>
            </a:lvl3pPr>
            <a:lvl4pPr algn="just">
              <a:defRPr sz="1600"/>
            </a:lvl4pPr>
            <a:lvl5pPr algn="just"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8791575" y="6492875"/>
            <a:ext cx="352424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06E1E8-899A-4EC0-8EB7-308EA0A8D60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Rectángulo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253528" y="982470"/>
            <a:ext cx="290464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b="1" spc="50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  <p:sp>
        <p:nvSpPr>
          <p:cNvPr id="8" name="Rectángulo 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1913243" y="404784"/>
            <a:ext cx="301686" cy="70788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00" b="1" spc="50" dirty="0">
                <a:ln w="11430"/>
                <a:solidFill>
                  <a:srgbClr val="1F497D">
                    <a:lumMod val="75000"/>
                  </a:srgbClr>
                </a:solidFill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3961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8063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s-CO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D14B49-4D72-45FA-8B65-70D0AF839554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4 Marcador de pie de página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3959087" y="6356351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3 Marcador de fecha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1256305" y="635635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5235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25418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5 Marcador de número de diapositiva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8818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3094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>
            <p:custDataLst>
              <p:tags r:id="rId3"/>
            </p:custDataLst>
          </p:nvPr>
        </p:nvSpPr>
        <p:spPr>
          <a:xfrm>
            <a:off x="477678" y="0"/>
            <a:ext cx="8666321" cy="1200149"/>
          </a:xfrm>
          <a:custGeom>
            <a:avLst/>
            <a:gdLst>
              <a:gd name="connsiteX0" fmla="*/ 0 w 8404860"/>
              <a:gd name="connsiteY0" fmla="*/ 0 h 1209674"/>
              <a:gd name="connsiteX1" fmla="*/ 8404860 w 8404860"/>
              <a:gd name="connsiteY1" fmla="*/ 0 h 1209674"/>
              <a:gd name="connsiteX2" fmla="*/ 8404860 w 8404860"/>
              <a:gd name="connsiteY2" fmla="*/ 1209674 h 1209674"/>
              <a:gd name="connsiteX3" fmla="*/ 0 w 8404860"/>
              <a:gd name="connsiteY3" fmla="*/ 1209674 h 1209674"/>
              <a:gd name="connsiteX4" fmla="*/ 0 w 8404860"/>
              <a:gd name="connsiteY4" fmla="*/ 0 h 1209674"/>
              <a:gd name="connsiteX0" fmla="*/ 0 w 8656320"/>
              <a:gd name="connsiteY0" fmla="*/ 0 h 1217294"/>
              <a:gd name="connsiteX1" fmla="*/ 8656320 w 8656320"/>
              <a:gd name="connsiteY1" fmla="*/ 7620 h 1217294"/>
              <a:gd name="connsiteX2" fmla="*/ 8656320 w 8656320"/>
              <a:gd name="connsiteY2" fmla="*/ 1217294 h 1217294"/>
              <a:gd name="connsiteX3" fmla="*/ 251460 w 8656320"/>
              <a:gd name="connsiteY3" fmla="*/ 1217294 h 1217294"/>
              <a:gd name="connsiteX4" fmla="*/ 0 w 8656320"/>
              <a:gd name="connsiteY4" fmla="*/ 0 h 1217294"/>
              <a:gd name="connsiteX0" fmla="*/ 0 w 8663940"/>
              <a:gd name="connsiteY0" fmla="*/ 15240 h 1209674"/>
              <a:gd name="connsiteX1" fmla="*/ 8663940 w 8663940"/>
              <a:gd name="connsiteY1" fmla="*/ 0 h 1209674"/>
              <a:gd name="connsiteX2" fmla="*/ 8663940 w 8663940"/>
              <a:gd name="connsiteY2" fmla="*/ 1209674 h 1209674"/>
              <a:gd name="connsiteX3" fmla="*/ 259080 w 8663940"/>
              <a:gd name="connsiteY3" fmla="*/ 1209674 h 1209674"/>
              <a:gd name="connsiteX4" fmla="*/ 0 w 8663940"/>
              <a:gd name="connsiteY4" fmla="*/ 15240 h 1209674"/>
              <a:gd name="connsiteX0" fmla="*/ 0 w 8656796"/>
              <a:gd name="connsiteY0" fmla="*/ 5715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5715 h 1209674"/>
              <a:gd name="connsiteX0" fmla="*/ 0 w 8656796"/>
              <a:gd name="connsiteY0" fmla="*/ 8096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8096 h 1209674"/>
              <a:gd name="connsiteX0" fmla="*/ 0 w 8666321"/>
              <a:gd name="connsiteY0" fmla="*/ 0 h 1211103"/>
              <a:gd name="connsiteX1" fmla="*/ 8666321 w 8666321"/>
              <a:gd name="connsiteY1" fmla="*/ 1429 h 1211103"/>
              <a:gd name="connsiteX2" fmla="*/ 8666321 w 8666321"/>
              <a:gd name="connsiteY2" fmla="*/ 1211103 h 1211103"/>
              <a:gd name="connsiteX3" fmla="*/ 261461 w 8666321"/>
              <a:gd name="connsiteY3" fmla="*/ 1211103 h 1211103"/>
              <a:gd name="connsiteX4" fmla="*/ 0 w 8666321"/>
              <a:gd name="connsiteY4" fmla="*/ 0 h 121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66321" h="1211103">
                <a:moveTo>
                  <a:pt x="0" y="0"/>
                </a:moveTo>
                <a:lnTo>
                  <a:pt x="8666321" y="1429"/>
                </a:lnTo>
                <a:lnTo>
                  <a:pt x="8666321" y="1211103"/>
                </a:lnTo>
                <a:lnTo>
                  <a:pt x="261461" y="1211103"/>
                </a:lnTo>
                <a:lnTo>
                  <a:pt x="0" y="0"/>
                </a:lnTo>
                <a:close/>
              </a:path>
            </a:pathLst>
          </a:cu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819150" y="433512"/>
            <a:ext cx="7318788" cy="748669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22" name="Group 21"/>
          <p:cNvGrpSpPr/>
          <p:nvPr userDrawn="1">
            <p:custDataLst>
              <p:tags r:id="rId5"/>
            </p:custDataLst>
          </p:nvPr>
        </p:nvGrpSpPr>
        <p:grpSpPr>
          <a:xfrm>
            <a:off x="-352425" y="-398782"/>
            <a:ext cx="983076" cy="1598932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  <p:sp>
          <p:nvSpPr>
            <p:cNvPr id="2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</p:grpSp>
      <p:sp>
        <p:nvSpPr>
          <p:cNvPr id="14" name="Rectangle 13"/>
          <p:cNvSpPr/>
          <p:nvPr userDrawn="1">
            <p:custDataLst>
              <p:tags r:id="rId6"/>
            </p:custDataLst>
          </p:nvPr>
        </p:nvSpPr>
        <p:spPr>
          <a:xfrm rot="10800000" flipH="1" flipV="1">
            <a:off x="-1" y="6714773"/>
            <a:ext cx="7038975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6473159" y="5919468"/>
            <a:ext cx="2350254" cy="872485"/>
            <a:chOff x="6473159" y="5919468"/>
            <a:chExt cx="2350254" cy="872485"/>
          </a:xfrm>
        </p:grpSpPr>
        <p:pic>
          <p:nvPicPr>
            <p:cNvPr id="13" name="Picture 12"/>
            <p:cNvPicPr>
              <a:picLocks noChangeAspect="1"/>
            </p:cNvPicPr>
            <p:nvPr userDrawn="1">
              <p:custDataLst>
                <p:tags r:id="rId7"/>
              </p:custDataLst>
            </p:nvPr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62664" y="5919468"/>
              <a:ext cx="1860749" cy="872485"/>
            </a:xfrm>
            <a:prstGeom prst="rect">
              <a:avLst/>
            </a:prstGeom>
          </p:spPr>
        </p:pic>
        <p:pic>
          <p:nvPicPr>
            <p:cNvPr id="15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8"/>
              </p:custDataLst>
            </p:nvPr>
          </p:nvPicPr>
          <p:blipFill rotWithShape="1">
            <a:blip r:embed="rId13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473159" y="6167594"/>
              <a:ext cx="423661" cy="41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9808962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2047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4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4 Marcador de pie de página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3959087" y="6356351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1256305" y="635635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9963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72275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9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374900" y="3683000"/>
            <a:ext cx="5956300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O" dirty="0"/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106613" cy="6858000"/>
          </a:xfrm>
          <a:prstGeom prst="rect">
            <a:avLst/>
          </a:prstGeom>
          <a:pattFill prst="dkDnDiag">
            <a:fgClr>
              <a:schemeClr val="accent5">
                <a:lumMod val="20000"/>
                <a:lumOff val="80000"/>
              </a:schemeClr>
            </a:fgClr>
            <a:bgClr>
              <a:schemeClr val="accent5">
                <a:lumMod val="40000"/>
                <a:lumOff val="6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oup 12"/>
          <p:cNvGrpSpPr/>
          <p:nvPr userDrawn="1">
            <p:custDataLst>
              <p:tags r:id="rId5"/>
            </p:custDataLst>
          </p:nvPr>
        </p:nvGrpSpPr>
        <p:grpSpPr>
          <a:xfrm>
            <a:off x="391016" y="4632333"/>
            <a:ext cx="1368413" cy="2225667"/>
            <a:chOff x="-1250950" y="-268289"/>
            <a:chExt cx="3263900" cy="5308600"/>
          </a:xfrm>
          <a:solidFill>
            <a:schemeClr val="accent5">
              <a:lumMod val="60000"/>
              <a:lumOff val="40000"/>
              <a:alpha val="50000"/>
            </a:schemeClr>
          </a:solidFill>
        </p:grpSpPr>
        <p:sp>
          <p:nvSpPr>
            <p:cNvPr id="14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  <p:sp>
          <p:nvSpPr>
            <p:cNvPr id="15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</p:grpSp>
      <p:grpSp>
        <p:nvGrpSpPr>
          <p:cNvPr id="12" name="Group 11"/>
          <p:cNvGrpSpPr/>
          <p:nvPr userDrawn="1"/>
        </p:nvGrpSpPr>
        <p:grpSpPr>
          <a:xfrm>
            <a:off x="5759171" y="5651500"/>
            <a:ext cx="3072092" cy="1140453"/>
            <a:chOff x="6153800" y="5919468"/>
            <a:chExt cx="2350254" cy="872485"/>
          </a:xfrm>
        </p:grpSpPr>
        <p:pic>
          <p:nvPicPr>
            <p:cNvPr id="18" name="Picture 17"/>
            <p:cNvPicPr>
              <a:picLocks noChangeAspect="1"/>
            </p:cNvPicPr>
            <p:nvPr userDrawn="1">
              <p:custDataLst>
                <p:tags r:id="rId6"/>
              </p:custDataLst>
            </p:nvPr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43305" y="5919468"/>
              <a:ext cx="1860749" cy="872485"/>
            </a:xfrm>
            <a:prstGeom prst="rect">
              <a:avLst/>
            </a:prstGeom>
          </p:spPr>
        </p:pic>
        <p:pic>
          <p:nvPicPr>
            <p:cNvPr id="19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7"/>
              </p:custDataLst>
            </p:nvPr>
          </p:nvPicPr>
          <p:blipFill rotWithShape="1">
            <a:blip r:embed="rId12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153800" y="6167594"/>
              <a:ext cx="423661" cy="41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41699598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344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7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1256305" y="1250343"/>
            <a:ext cx="7529885" cy="512660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8E18E1EC-63BD-4A12-BF8A-3B41A5EE0EAA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/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>
          <a:xfrm>
            <a:off x="1256305" y="635635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>
          <a:xfrm>
            <a:off x="3959087" y="6356351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6041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7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10" Type="http://schemas.openxmlformats.org/officeDocument/2006/relationships/vmlDrawing" Target="../drawings/vmlDrawing1.v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5.xml"/><Relationship Id="rId22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827015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5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2 Marcador de texto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286246" y="1250344"/>
            <a:ext cx="8579458" cy="4969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CO" dirty="0" smtClean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8791574" y="6492875"/>
            <a:ext cx="3524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tx1">
                    <a:tint val="75000"/>
                  </a:schemeClr>
                </a:solidFill>
                <a:latin typeface="Candara"/>
                <a:cs typeface="+mn-cs"/>
                <a:sym typeface="Candara"/>
              </a:defRPr>
            </a:lvl1pPr>
          </a:lstStyle>
          <a:p>
            <a:pPr>
              <a:defRPr/>
            </a:pPr>
            <a:fld id="{CC308BA6-CE2B-4543-82B0-7E6DCE132E0F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026" name="1 Marcador de título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286246" y="262340"/>
            <a:ext cx="8595361" cy="748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 smtClean="0"/>
              <a:t>Haga clic para modificar el estilo de título del patrón</a:t>
            </a:r>
            <a:endParaRPr lang="es-CO" dirty="0" smtClean="0"/>
          </a:p>
        </p:txBody>
      </p:sp>
      <p:sp>
        <p:nvSpPr>
          <p:cNvPr id="19" name="Rectangle 18"/>
          <p:cNvSpPr/>
          <p:nvPr>
            <p:custDataLst>
              <p:tags r:id="rId15"/>
            </p:custDataLst>
          </p:nvPr>
        </p:nvSpPr>
        <p:spPr>
          <a:xfrm rot="10800000" flipH="1" flipV="1">
            <a:off x="285252" y="1059059"/>
            <a:ext cx="8589667" cy="45721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90000"/>
                  <a:alpha val="5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  <p:sp>
        <p:nvSpPr>
          <p:cNvPr id="12" name="Rectangle 11"/>
          <p:cNvSpPr/>
          <p:nvPr>
            <p:custDataLst>
              <p:tags r:id="rId16"/>
            </p:custDataLst>
          </p:nvPr>
        </p:nvSpPr>
        <p:spPr>
          <a:xfrm rot="10800000" flipH="1" flipV="1">
            <a:off x="-1" y="6721123"/>
            <a:ext cx="6717507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6880913" y="6078441"/>
            <a:ext cx="1922022" cy="713512"/>
            <a:chOff x="6153800" y="5919468"/>
            <a:chExt cx="2350254" cy="872485"/>
          </a:xfrm>
        </p:grpSpPr>
        <p:pic>
          <p:nvPicPr>
            <p:cNvPr id="13" name="Picture 12"/>
            <p:cNvPicPr>
              <a:picLocks noChangeAspect="1"/>
            </p:cNvPicPr>
            <p:nvPr>
              <p:custDataLst>
                <p:tags r:id="rId17"/>
              </p:custDataLst>
            </p:nvPr>
          </p:nvPicPr>
          <p:blipFill>
            <a:blip r:embed="rId2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43305" y="5919468"/>
              <a:ext cx="1860749" cy="872485"/>
            </a:xfrm>
            <a:prstGeom prst="rect">
              <a:avLst/>
            </a:prstGeom>
          </p:spPr>
        </p:pic>
        <p:pic>
          <p:nvPicPr>
            <p:cNvPr id="15" name="E719C35A-4CD6-4178-B0D0-8DA208F1799A" descr="E719C35A-4CD6-4178-B0D0-8DA208F1799A"/>
            <p:cNvPicPr>
              <a:picLocks noChangeAspect="1" noChangeArrowheads="1"/>
            </p:cNvPicPr>
            <p:nvPr>
              <p:custDataLst>
                <p:tags r:id="rId18"/>
              </p:custDataLst>
            </p:nvPr>
          </p:nvPicPr>
          <p:blipFill rotWithShape="1">
            <a:blip r:embed="rId22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153800" y="6167594"/>
              <a:ext cx="423661" cy="41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781156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6" r:id="rId4"/>
    <p:sldLayoutId id="2147483673" r:id="rId5"/>
    <p:sldLayoutId id="2147483667" r:id="rId6"/>
    <p:sldLayoutId id="2147483674" r:id="rId7"/>
    <p:sldLayoutId id="2147483672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accent4"/>
          </a:solidFill>
          <a:latin typeface="Candara" pitchFamily="34" charset="0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77800" indent="-1778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b="1" kern="1200">
          <a:solidFill>
            <a:schemeClr val="tx1"/>
          </a:solidFill>
          <a:latin typeface="Candara" pitchFamily="34" charset="0"/>
          <a:ea typeface="+mn-ea"/>
          <a:cs typeface="+mn-cs"/>
        </a:defRPr>
      </a:lvl1pPr>
      <a:lvl2pPr marL="6223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2pPr>
      <a:lvl3pPr marL="10795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3pPr>
      <a:lvl4pPr marL="1524000" indent="-1524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4pPr>
      <a:lvl5pPr marL="1968500" indent="-1397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0.xml"/><Relationship Id="rId7" Type="http://schemas.openxmlformats.org/officeDocument/2006/relationships/image" Target="../media/image1.emf"/><Relationship Id="rId2" Type="http://schemas.openxmlformats.org/officeDocument/2006/relationships/tags" Target="../tags/tag59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notesSlide" Target="../notesSlides/notesSlide2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slideLayout" Target="../slideLayouts/slideLayout5.xml"/><Relationship Id="rId2" Type="http://schemas.openxmlformats.org/officeDocument/2006/relationships/tags" Target="../tags/tag61.xml"/><Relationship Id="rId16" Type="http://schemas.openxmlformats.org/officeDocument/2006/relationships/image" Target="../media/image8.png"/><Relationship Id="rId1" Type="http://schemas.openxmlformats.org/officeDocument/2006/relationships/vmlDrawing" Target="../drawings/vmlDrawing11.v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image" Target="../media/image1.emf"/><Relationship Id="rId10" Type="http://schemas.openxmlformats.org/officeDocument/2006/relationships/tags" Target="../tags/tag69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oleObject" Target="../embeddings/oleObject11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72.xml"/><Relationship Id="rId7" Type="http://schemas.openxmlformats.org/officeDocument/2006/relationships/oleObject" Target="../embeddings/oleObject12.bin"/><Relationship Id="rId2" Type="http://schemas.openxmlformats.org/officeDocument/2006/relationships/tags" Target="../tags/tag71.xml"/><Relationship Id="rId1" Type="http://schemas.openxmlformats.org/officeDocument/2006/relationships/vmlDrawing" Target="../drawings/vmlDrawing12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73.xml"/><Relationship Id="rId9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2" Type="http://schemas.openxmlformats.org/officeDocument/2006/relationships/tags" Target="../tags/tag7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8" name="Object 1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9286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2" name="Text Placeholder 131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3116687" y="3743263"/>
            <a:ext cx="3394642" cy="361950"/>
          </a:xfrm>
        </p:spPr>
        <p:txBody>
          <a:bodyPr/>
          <a:lstStyle/>
          <a:p>
            <a:pPr algn="ctr"/>
            <a:r>
              <a:rPr lang="es-ES" sz="2400" dirty="0" smtClean="0"/>
              <a:t>Resultados a la Fecha: </a:t>
            </a:r>
          </a:p>
          <a:p>
            <a:pPr algn="ctr"/>
            <a:r>
              <a:rPr lang="es-ES" sz="2400" dirty="0"/>
              <a:t>8</a:t>
            </a:r>
            <a:r>
              <a:rPr lang="es-ES" sz="2400" dirty="0" smtClean="0"/>
              <a:t> de Septiembre de 2015</a:t>
            </a:r>
            <a:endParaRPr lang="en-US" sz="2400" dirty="0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89375" y="855137"/>
            <a:ext cx="4621169" cy="19204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82850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7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s-ES" dirty="0" smtClean="0"/>
              <a:t>Contenido</a:t>
            </a:r>
            <a:endParaRPr lang="en-US" dirty="0"/>
          </a:p>
        </p:txBody>
      </p:sp>
      <p:sp>
        <p:nvSpPr>
          <p:cNvPr id="9" name="Rounded Rectangle 8"/>
          <p:cNvSpPr/>
          <p:nvPr>
            <p:custDataLst>
              <p:tags r:id="rId4"/>
            </p:custDataLst>
          </p:nvPr>
        </p:nvSpPr>
        <p:spPr>
          <a:xfrm rot="8100000">
            <a:off x="1591920" y="2079818"/>
            <a:ext cx="275396" cy="275396"/>
          </a:xfrm>
          <a:custGeom>
            <a:avLst/>
            <a:gdLst>
              <a:gd name="connsiteX0" fmla="*/ 0 w 999068"/>
              <a:gd name="connsiteY0" fmla="*/ 166515 h 999068"/>
              <a:gd name="connsiteX1" fmla="*/ 166515 w 999068"/>
              <a:gd name="connsiteY1" fmla="*/ 0 h 999068"/>
              <a:gd name="connsiteX2" fmla="*/ 832553 w 999068"/>
              <a:gd name="connsiteY2" fmla="*/ 0 h 999068"/>
              <a:gd name="connsiteX3" fmla="*/ 999068 w 999068"/>
              <a:gd name="connsiteY3" fmla="*/ 166515 h 999068"/>
              <a:gd name="connsiteX4" fmla="*/ 999068 w 999068"/>
              <a:gd name="connsiteY4" fmla="*/ 832553 h 999068"/>
              <a:gd name="connsiteX5" fmla="*/ 832553 w 999068"/>
              <a:gd name="connsiteY5" fmla="*/ 999068 h 999068"/>
              <a:gd name="connsiteX6" fmla="*/ 166515 w 999068"/>
              <a:gd name="connsiteY6" fmla="*/ 999068 h 999068"/>
              <a:gd name="connsiteX7" fmla="*/ 0 w 999068"/>
              <a:gd name="connsiteY7" fmla="*/ 832553 h 999068"/>
              <a:gd name="connsiteX8" fmla="*/ 0 w 999068"/>
              <a:gd name="connsiteY8" fmla="*/ 166515 h 999068"/>
              <a:gd name="connsiteX0" fmla="*/ 0 w 999068"/>
              <a:gd name="connsiteY0" fmla="*/ 166515 h 999068"/>
              <a:gd name="connsiteX1" fmla="*/ 166515 w 999068"/>
              <a:gd name="connsiteY1" fmla="*/ 0 h 999068"/>
              <a:gd name="connsiteX2" fmla="*/ 832553 w 999068"/>
              <a:gd name="connsiteY2" fmla="*/ 0 h 999068"/>
              <a:gd name="connsiteX3" fmla="*/ 999068 w 999068"/>
              <a:gd name="connsiteY3" fmla="*/ 166515 h 999068"/>
              <a:gd name="connsiteX4" fmla="*/ 999068 w 999068"/>
              <a:gd name="connsiteY4" fmla="*/ 832553 h 999068"/>
              <a:gd name="connsiteX5" fmla="*/ 166515 w 999068"/>
              <a:gd name="connsiteY5" fmla="*/ 999068 h 999068"/>
              <a:gd name="connsiteX6" fmla="*/ 0 w 999068"/>
              <a:gd name="connsiteY6" fmla="*/ 832553 h 999068"/>
              <a:gd name="connsiteX7" fmla="*/ 0 w 999068"/>
              <a:gd name="connsiteY7" fmla="*/ 166515 h 999068"/>
              <a:gd name="connsiteX0" fmla="*/ 0 w 999068"/>
              <a:gd name="connsiteY0" fmla="*/ 166515 h 999068"/>
              <a:gd name="connsiteX1" fmla="*/ 166515 w 999068"/>
              <a:gd name="connsiteY1" fmla="*/ 0 h 999068"/>
              <a:gd name="connsiteX2" fmla="*/ 832553 w 999068"/>
              <a:gd name="connsiteY2" fmla="*/ 0 h 999068"/>
              <a:gd name="connsiteX3" fmla="*/ 999068 w 999068"/>
              <a:gd name="connsiteY3" fmla="*/ 166515 h 999068"/>
              <a:gd name="connsiteX4" fmla="*/ 166515 w 999068"/>
              <a:gd name="connsiteY4" fmla="*/ 999068 h 999068"/>
              <a:gd name="connsiteX5" fmla="*/ 0 w 999068"/>
              <a:gd name="connsiteY5" fmla="*/ 832553 h 999068"/>
              <a:gd name="connsiteX6" fmla="*/ 0 w 999068"/>
              <a:gd name="connsiteY6" fmla="*/ 166515 h 999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9068" h="999068">
                <a:moveTo>
                  <a:pt x="0" y="166515"/>
                </a:moveTo>
                <a:cubicBezTo>
                  <a:pt x="0" y="74551"/>
                  <a:pt x="74551" y="0"/>
                  <a:pt x="166515" y="0"/>
                </a:cubicBezTo>
                <a:lnTo>
                  <a:pt x="832553" y="0"/>
                </a:lnTo>
                <a:cubicBezTo>
                  <a:pt x="924517" y="0"/>
                  <a:pt x="999068" y="74551"/>
                  <a:pt x="999068" y="166515"/>
                </a:cubicBezTo>
                <a:lnTo>
                  <a:pt x="166515" y="999068"/>
                </a:lnTo>
                <a:cubicBezTo>
                  <a:pt x="74551" y="999068"/>
                  <a:pt x="0" y="924517"/>
                  <a:pt x="0" y="832553"/>
                </a:cubicBezTo>
                <a:lnTo>
                  <a:pt x="0" y="166515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  <p:sp>
        <p:nvSpPr>
          <p:cNvPr id="10" name="Rounded Rectangle 8"/>
          <p:cNvSpPr/>
          <p:nvPr>
            <p:custDataLst>
              <p:tags r:id="rId5"/>
            </p:custDataLst>
          </p:nvPr>
        </p:nvSpPr>
        <p:spPr>
          <a:xfrm rot="8100000">
            <a:off x="1591920" y="3081717"/>
            <a:ext cx="275396" cy="275396"/>
          </a:xfrm>
          <a:custGeom>
            <a:avLst/>
            <a:gdLst>
              <a:gd name="connsiteX0" fmla="*/ 0 w 999068"/>
              <a:gd name="connsiteY0" fmla="*/ 166515 h 999068"/>
              <a:gd name="connsiteX1" fmla="*/ 166515 w 999068"/>
              <a:gd name="connsiteY1" fmla="*/ 0 h 999068"/>
              <a:gd name="connsiteX2" fmla="*/ 832553 w 999068"/>
              <a:gd name="connsiteY2" fmla="*/ 0 h 999068"/>
              <a:gd name="connsiteX3" fmla="*/ 999068 w 999068"/>
              <a:gd name="connsiteY3" fmla="*/ 166515 h 999068"/>
              <a:gd name="connsiteX4" fmla="*/ 999068 w 999068"/>
              <a:gd name="connsiteY4" fmla="*/ 832553 h 999068"/>
              <a:gd name="connsiteX5" fmla="*/ 832553 w 999068"/>
              <a:gd name="connsiteY5" fmla="*/ 999068 h 999068"/>
              <a:gd name="connsiteX6" fmla="*/ 166515 w 999068"/>
              <a:gd name="connsiteY6" fmla="*/ 999068 h 999068"/>
              <a:gd name="connsiteX7" fmla="*/ 0 w 999068"/>
              <a:gd name="connsiteY7" fmla="*/ 832553 h 999068"/>
              <a:gd name="connsiteX8" fmla="*/ 0 w 999068"/>
              <a:gd name="connsiteY8" fmla="*/ 166515 h 999068"/>
              <a:gd name="connsiteX0" fmla="*/ 0 w 999068"/>
              <a:gd name="connsiteY0" fmla="*/ 166515 h 999068"/>
              <a:gd name="connsiteX1" fmla="*/ 166515 w 999068"/>
              <a:gd name="connsiteY1" fmla="*/ 0 h 999068"/>
              <a:gd name="connsiteX2" fmla="*/ 832553 w 999068"/>
              <a:gd name="connsiteY2" fmla="*/ 0 h 999068"/>
              <a:gd name="connsiteX3" fmla="*/ 999068 w 999068"/>
              <a:gd name="connsiteY3" fmla="*/ 166515 h 999068"/>
              <a:gd name="connsiteX4" fmla="*/ 999068 w 999068"/>
              <a:gd name="connsiteY4" fmla="*/ 832553 h 999068"/>
              <a:gd name="connsiteX5" fmla="*/ 166515 w 999068"/>
              <a:gd name="connsiteY5" fmla="*/ 999068 h 999068"/>
              <a:gd name="connsiteX6" fmla="*/ 0 w 999068"/>
              <a:gd name="connsiteY6" fmla="*/ 832553 h 999068"/>
              <a:gd name="connsiteX7" fmla="*/ 0 w 999068"/>
              <a:gd name="connsiteY7" fmla="*/ 166515 h 999068"/>
              <a:gd name="connsiteX0" fmla="*/ 0 w 999068"/>
              <a:gd name="connsiteY0" fmla="*/ 166515 h 999068"/>
              <a:gd name="connsiteX1" fmla="*/ 166515 w 999068"/>
              <a:gd name="connsiteY1" fmla="*/ 0 h 999068"/>
              <a:gd name="connsiteX2" fmla="*/ 832553 w 999068"/>
              <a:gd name="connsiteY2" fmla="*/ 0 h 999068"/>
              <a:gd name="connsiteX3" fmla="*/ 999068 w 999068"/>
              <a:gd name="connsiteY3" fmla="*/ 166515 h 999068"/>
              <a:gd name="connsiteX4" fmla="*/ 166515 w 999068"/>
              <a:gd name="connsiteY4" fmla="*/ 999068 h 999068"/>
              <a:gd name="connsiteX5" fmla="*/ 0 w 999068"/>
              <a:gd name="connsiteY5" fmla="*/ 832553 h 999068"/>
              <a:gd name="connsiteX6" fmla="*/ 0 w 999068"/>
              <a:gd name="connsiteY6" fmla="*/ 166515 h 999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9068" h="999068">
                <a:moveTo>
                  <a:pt x="0" y="166515"/>
                </a:moveTo>
                <a:cubicBezTo>
                  <a:pt x="0" y="74551"/>
                  <a:pt x="74551" y="0"/>
                  <a:pt x="166515" y="0"/>
                </a:cubicBezTo>
                <a:lnTo>
                  <a:pt x="832553" y="0"/>
                </a:lnTo>
                <a:cubicBezTo>
                  <a:pt x="924517" y="0"/>
                  <a:pt x="999068" y="74551"/>
                  <a:pt x="999068" y="166515"/>
                </a:cubicBezTo>
                <a:lnTo>
                  <a:pt x="166515" y="999068"/>
                </a:lnTo>
                <a:cubicBezTo>
                  <a:pt x="74551" y="999068"/>
                  <a:pt x="0" y="924517"/>
                  <a:pt x="0" y="832553"/>
                </a:cubicBezTo>
                <a:lnTo>
                  <a:pt x="0" y="166515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  <p:sp>
        <p:nvSpPr>
          <p:cNvPr id="12" name="Rounded Rectangle 8"/>
          <p:cNvSpPr/>
          <p:nvPr>
            <p:custDataLst>
              <p:tags r:id="rId6"/>
            </p:custDataLst>
          </p:nvPr>
        </p:nvSpPr>
        <p:spPr>
          <a:xfrm rot="8100000">
            <a:off x="1609821" y="4140630"/>
            <a:ext cx="275396" cy="275396"/>
          </a:xfrm>
          <a:custGeom>
            <a:avLst/>
            <a:gdLst>
              <a:gd name="connsiteX0" fmla="*/ 0 w 999068"/>
              <a:gd name="connsiteY0" fmla="*/ 166515 h 999068"/>
              <a:gd name="connsiteX1" fmla="*/ 166515 w 999068"/>
              <a:gd name="connsiteY1" fmla="*/ 0 h 999068"/>
              <a:gd name="connsiteX2" fmla="*/ 832553 w 999068"/>
              <a:gd name="connsiteY2" fmla="*/ 0 h 999068"/>
              <a:gd name="connsiteX3" fmla="*/ 999068 w 999068"/>
              <a:gd name="connsiteY3" fmla="*/ 166515 h 999068"/>
              <a:gd name="connsiteX4" fmla="*/ 999068 w 999068"/>
              <a:gd name="connsiteY4" fmla="*/ 832553 h 999068"/>
              <a:gd name="connsiteX5" fmla="*/ 832553 w 999068"/>
              <a:gd name="connsiteY5" fmla="*/ 999068 h 999068"/>
              <a:gd name="connsiteX6" fmla="*/ 166515 w 999068"/>
              <a:gd name="connsiteY6" fmla="*/ 999068 h 999068"/>
              <a:gd name="connsiteX7" fmla="*/ 0 w 999068"/>
              <a:gd name="connsiteY7" fmla="*/ 832553 h 999068"/>
              <a:gd name="connsiteX8" fmla="*/ 0 w 999068"/>
              <a:gd name="connsiteY8" fmla="*/ 166515 h 999068"/>
              <a:gd name="connsiteX0" fmla="*/ 0 w 999068"/>
              <a:gd name="connsiteY0" fmla="*/ 166515 h 999068"/>
              <a:gd name="connsiteX1" fmla="*/ 166515 w 999068"/>
              <a:gd name="connsiteY1" fmla="*/ 0 h 999068"/>
              <a:gd name="connsiteX2" fmla="*/ 832553 w 999068"/>
              <a:gd name="connsiteY2" fmla="*/ 0 h 999068"/>
              <a:gd name="connsiteX3" fmla="*/ 999068 w 999068"/>
              <a:gd name="connsiteY3" fmla="*/ 166515 h 999068"/>
              <a:gd name="connsiteX4" fmla="*/ 999068 w 999068"/>
              <a:gd name="connsiteY4" fmla="*/ 832553 h 999068"/>
              <a:gd name="connsiteX5" fmla="*/ 166515 w 999068"/>
              <a:gd name="connsiteY5" fmla="*/ 999068 h 999068"/>
              <a:gd name="connsiteX6" fmla="*/ 0 w 999068"/>
              <a:gd name="connsiteY6" fmla="*/ 832553 h 999068"/>
              <a:gd name="connsiteX7" fmla="*/ 0 w 999068"/>
              <a:gd name="connsiteY7" fmla="*/ 166515 h 999068"/>
              <a:gd name="connsiteX0" fmla="*/ 0 w 999068"/>
              <a:gd name="connsiteY0" fmla="*/ 166515 h 999068"/>
              <a:gd name="connsiteX1" fmla="*/ 166515 w 999068"/>
              <a:gd name="connsiteY1" fmla="*/ 0 h 999068"/>
              <a:gd name="connsiteX2" fmla="*/ 832553 w 999068"/>
              <a:gd name="connsiteY2" fmla="*/ 0 h 999068"/>
              <a:gd name="connsiteX3" fmla="*/ 999068 w 999068"/>
              <a:gd name="connsiteY3" fmla="*/ 166515 h 999068"/>
              <a:gd name="connsiteX4" fmla="*/ 166515 w 999068"/>
              <a:gd name="connsiteY4" fmla="*/ 999068 h 999068"/>
              <a:gd name="connsiteX5" fmla="*/ 0 w 999068"/>
              <a:gd name="connsiteY5" fmla="*/ 832553 h 999068"/>
              <a:gd name="connsiteX6" fmla="*/ 0 w 999068"/>
              <a:gd name="connsiteY6" fmla="*/ 166515 h 999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9068" h="999068">
                <a:moveTo>
                  <a:pt x="0" y="166515"/>
                </a:moveTo>
                <a:cubicBezTo>
                  <a:pt x="0" y="74551"/>
                  <a:pt x="74551" y="0"/>
                  <a:pt x="166515" y="0"/>
                </a:cubicBezTo>
                <a:lnTo>
                  <a:pt x="832553" y="0"/>
                </a:lnTo>
                <a:cubicBezTo>
                  <a:pt x="924517" y="0"/>
                  <a:pt x="999068" y="74551"/>
                  <a:pt x="999068" y="166515"/>
                </a:cubicBezTo>
                <a:lnTo>
                  <a:pt x="166515" y="999068"/>
                </a:lnTo>
                <a:cubicBezTo>
                  <a:pt x="74551" y="999068"/>
                  <a:pt x="0" y="924517"/>
                  <a:pt x="0" y="832553"/>
                </a:cubicBezTo>
                <a:lnTo>
                  <a:pt x="0" y="166515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  <p:sp>
        <p:nvSpPr>
          <p:cNvPr id="14" name="Rounded Rectangle 8"/>
          <p:cNvSpPr/>
          <p:nvPr>
            <p:custDataLst>
              <p:tags r:id="rId7"/>
            </p:custDataLst>
          </p:nvPr>
        </p:nvSpPr>
        <p:spPr>
          <a:xfrm rot="8100000">
            <a:off x="1586899" y="5167393"/>
            <a:ext cx="275396" cy="275396"/>
          </a:xfrm>
          <a:custGeom>
            <a:avLst/>
            <a:gdLst>
              <a:gd name="connsiteX0" fmla="*/ 0 w 999068"/>
              <a:gd name="connsiteY0" fmla="*/ 166515 h 999068"/>
              <a:gd name="connsiteX1" fmla="*/ 166515 w 999068"/>
              <a:gd name="connsiteY1" fmla="*/ 0 h 999068"/>
              <a:gd name="connsiteX2" fmla="*/ 832553 w 999068"/>
              <a:gd name="connsiteY2" fmla="*/ 0 h 999068"/>
              <a:gd name="connsiteX3" fmla="*/ 999068 w 999068"/>
              <a:gd name="connsiteY3" fmla="*/ 166515 h 999068"/>
              <a:gd name="connsiteX4" fmla="*/ 999068 w 999068"/>
              <a:gd name="connsiteY4" fmla="*/ 832553 h 999068"/>
              <a:gd name="connsiteX5" fmla="*/ 832553 w 999068"/>
              <a:gd name="connsiteY5" fmla="*/ 999068 h 999068"/>
              <a:gd name="connsiteX6" fmla="*/ 166515 w 999068"/>
              <a:gd name="connsiteY6" fmla="*/ 999068 h 999068"/>
              <a:gd name="connsiteX7" fmla="*/ 0 w 999068"/>
              <a:gd name="connsiteY7" fmla="*/ 832553 h 999068"/>
              <a:gd name="connsiteX8" fmla="*/ 0 w 999068"/>
              <a:gd name="connsiteY8" fmla="*/ 166515 h 999068"/>
              <a:gd name="connsiteX0" fmla="*/ 0 w 999068"/>
              <a:gd name="connsiteY0" fmla="*/ 166515 h 999068"/>
              <a:gd name="connsiteX1" fmla="*/ 166515 w 999068"/>
              <a:gd name="connsiteY1" fmla="*/ 0 h 999068"/>
              <a:gd name="connsiteX2" fmla="*/ 832553 w 999068"/>
              <a:gd name="connsiteY2" fmla="*/ 0 h 999068"/>
              <a:gd name="connsiteX3" fmla="*/ 999068 w 999068"/>
              <a:gd name="connsiteY3" fmla="*/ 166515 h 999068"/>
              <a:gd name="connsiteX4" fmla="*/ 999068 w 999068"/>
              <a:gd name="connsiteY4" fmla="*/ 832553 h 999068"/>
              <a:gd name="connsiteX5" fmla="*/ 166515 w 999068"/>
              <a:gd name="connsiteY5" fmla="*/ 999068 h 999068"/>
              <a:gd name="connsiteX6" fmla="*/ 0 w 999068"/>
              <a:gd name="connsiteY6" fmla="*/ 832553 h 999068"/>
              <a:gd name="connsiteX7" fmla="*/ 0 w 999068"/>
              <a:gd name="connsiteY7" fmla="*/ 166515 h 999068"/>
              <a:gd name="connsiteX0" fmla="*/ 0 w 999068"/>
              <a:gd name="connsiteY0" fmla="*/ 166515 h 999068"/>
              <a:gd name="connsiteX1" fmla="*/ 166515 w 999068"/>
              <a:gd name="connsiteY1" fmla="*/ 0 h 999068"/>
              <a:gd name="connsiteX2" fmla="*/ 832553 w 999068"/>
              <a:gd name="connsiteY2" fmla="*/ 0 h 999068"/>
              <a:gd name="connsiteX3" fmla="*/ 999068 w 999068"/>
              <a:gd name="connsiteY3" fmla="*/ 166515 h 999068"/>
              <a:gd name="connsiteX4" fmla="*/ 166515 w 999068"/>
              <a:gd name="connsiteY4" fmla="*/ 999068 h 999068"/>
              <a:gd name="connsiteX5" fmla="*/ 0 w 999068"/>
              <a:gd name="connsiteY5" fmla="*/ 832553 h 999068"/>
              <a:gd name="connsiteX6" fmla="*/ 0 w 999068"/>
              <a:gd name="connsiteY6" fmla="*/ 166515 h 999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9068" h="999068">
                <a:moveTo>
                  <a:pt x="0" y="166515"/>
                </a:moveTo>
                <a:cubicBezTo>
                  <a:pt x="0" y="74551"/>
                  <a:pt x="74551" y="0"/>
                  <a:pt x="166515" y="0"/>
                </a:cubicBezTo>
                <a:lnTo>
                  <a:pt x="832553" y="0"/>
                </a:lnTo>
                <a:cubicBezTo>
                  <a:pt x="924517" y="0"/>
                  <a:pt x="999068" y="74551"/>
                  <a:pt x="999068" y="166515"/>
                </a:cubicBezTo>
                <a:lnTo>
                  <a:pt x="166515" y="999068"/>
                </a:lnTo>
                <a:cubicBezTo>
                  <a:pt x="74551" y="999068"/>
                  <a:pt x="0" y="924517"/>
                  <a:pt x="0" y="832553"/>
                </a:cubicBezTo>
                <a:lnTo>
                  <a:pt x="0" y="166515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  <p:sp>
        <p:nvSpPr>
          <p:cNvPr id="15" name="Rectangle 23"/>
          <p:cNvSpPr/>
          <p:nvPr>
            <p:custDataLst>
              <p:tags r:id="rId8"/>
            </p:custDataLst>
          </p:nvPr>
        </p:nvSpPr>
        <p:spPr>
          <a:xfrm>
            <a:off x="1919332" y="4056200"/>
            <a:ext cx="6165393" cy="50630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lvl="0" indent="-228600">
              <a:spcBef>
                <a:spcPts val="1200"/>
              </a:spcBef>
              <a:spcAft>
                <a:spcPts val="1200"/>
              </a:spcAft>
              <a:buClr>
                <a:srgbClr val="A6A6A6"/>
              </a:buClr>
              <a:buSzPct val="120000"/>
              <a:buFont typeface="Arial" pitchFamily="34" charset="0"/>
              <a:buChar char="•"/>
            </a:pPr>
            <a:r>
              <a:rPr lang="es-CO" dirty="0">
                <a:solidFill>
                  <a:srgbClr val="386295"/>
                </a:solidFill>
                <a:latin typeface="Candara"/>
                <a:sym typeface="Candara"/>
              </a:rPr>
              <a:t>Programas ejecutados</a:t>
            </a:r>
          </a:p>
        </p:txBody>
      </p:sp>
      <p:sp>
        <p:nvSpPr>
          <p:cNvPr id="16" name="Rectangle 23"/>
          <p:cNvSpPr/>
          <p:nvPr>
            <p:custDataLst>
              <p:tags r:id="rId9"/>
            </p:custDataLst>
          </p:nvPr>
        </p:nvSpPr>
        <p:spPr>
          <a:xfrm>
            <a:off x="1919331" y="2918745"/>
            <a:ext cx="6165393" cy="50630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lvl="0" indent="-228600">
              <a:spcBef>
                <a:spcPts val="1200"/>
              </a:spcBef>
              <a:spcAft>
                <a:spcPts val="1200"/>
              </a:spcAft>
              <a:buClr>
                <a:srgbClr val="A6A6A6"/>
              </a:buClr>
              <a:buSzPct val="120000"/>
              <a:buFont typeface="Arial" pitchFamily="34" charset="0"/>
              <a:buChar char="•"/>
            </a:pPr>
            <a:r>
              <a:rPr lang="es-CO" dirty="0">
                <a:solidFill>
                  <a:srgbClr val="386295"/>
                </a:solidFill>
                <a:latin typeface="Candara"/>
                <a:sym typeface="Candara"/>
              </a:rPr>
              <a:t>Programas </a:t>
            </a:r>
            <a:r>
              <a:rPr lang="es-CO" dirty="0" smtClean="0">
                <a:solidFill>
                  <a:srgbClr val="386295"/>
                </a:solidFill>
                <a:latin typeface="Candara"/>
                <a:sym typeface="Candara"/>
              </a:rPr>
              <a:t>y Docentes internos</a:t>
            </a:r>
            <a:endParaRPr lang="es-CO" dirty="0">
              <a:solidFill>
                <a:srgbClr val="386295"/>
              </a:solidFill>
              <a:latin typeface="Candara"/>
              <a:sym typeface="Candara"/>
            </a:endParaRPr>
          </a:p>
        </p:txBody>
      </p:sp>
      <p:sp>
        <p:nvSpPr>
          <p:cNvPr id="17" name="Rectangle 23"/>
          <p:cNvSpPr/>
          <p:nvPr>
            <p:custDataLst>
              <p:tags r:id="rId10"/>
            </p:custDataLst>
          </p:nvPr>
        </p:nvSpPr>
        <p:spPr>
          <a:xfrm>
            <a:off x="1919330" y="1981055"/>
            <a:ext cx="6165393" cy="50630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lvl="0" indent="-228600">
              <a:spcBef>
                <a:spcPts val="1200"/>
              </a:spcBef>
              <a:spcAft>
                <a:spcPts val="1200"/>
              </a:spcAft>
              <a:buClr>
                <a:srgbClr val="A6A6A6"/>
              </a:buClr>
              <a:buSzPct val="120000"/>
              <a:buFont typeface="Arial" pitchFamily="34" charset="0"/>
              <a:buChar char="•"/>
            </a:pPr>
            <a:r>
              <a:rPr lang="es-CO" dirty="0">
                <a:solidFill>
                  <a:srgbClr val="386295"/>
                </a:solidFill>
                <a:latin typeface="Candara"/>
                <a:sym typeface="Candara"/>
              </a:rPr>
              <a:t>Antecedentes</a:t>
            </a:r>
          </a:p>
        </p:txBody>
      </p:sp>
      <p:sp>
        <p:nvSpPr>
          <p:cNvPr id="18" name="Rectangle 23"/>
          <p:cNvSpPr/>
          <p:nvPr>
            <p:custDataLst>
              <p:tags r:id="rId11"/>
            </p:custDataLst>
          </p:nvPr>
        </p:nvSpPr>
        <p:spPr>
          <a:xfrm>
            <a:off x="1919329" y="5041408"/>
            <a:ext cx="6165393" cy="50630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lvl="0" indent="-228600">
              <a:spcBef>
                <a:spcPts val="1200"/>
              </a:spcBef>
              <a:spcAft>
                <a:spcPts val="1200"/>
              </a:spcAft>
              <a:buClr>
                <a:srgbClr val="A6A6A6"/>
              </a:buClr>
              <a:buSzPct val="120000"/>
              <a:buFont typeface="Arial" pitchFamily="34" charset="0"/>
              <a:buChar char="•"/>
            </a:pPr>
            <a:r>
              <a:rPr lang="es-CO" dirty="0">
                <a:solidFill>
                  <a:srgbClr val="386295"/>
                </a:solidFill>
                <a:latin typeface="Candara"/>
                <a:sym typeface="Candara"/>
              </a:rPr>
              <a:t>Índices de Gestión</a:t>
            </a: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178730" y="213434"/>
            <a:ext cx="2865368" cy="1188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500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8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>
            <p:custDataLst>
              <p:tags r:id="rId3"/>
            </p:custDataLst>
          </p:nvPr>
        </p:nvSpPr>
        <p:spPr>
          <a:xfrm>
            <a:off x="287338" y="1451163"/>
            <a:ext cx="8504236" cy="4555227"/>
          </a:xfrm>
          <a:prstGeom prst="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es-CO" dirty="0"/>
              <a:t>Las universidades corporativas son relativamente nuevas en los modelos </a:t>
            </a:r>
            <a:r>
              <a:rPr lang="es-CO" dirty="0" smtClean="0"/>
              <a:t>educativos.</a:t>
            </a:r>
          </a:p>
          <a:p>
            <a:pPr algn="just"/>
            <a:endParaRPr lang="es-CO" dirty="0"/>
          </a:p>
          <a:p>
            <a:pPr algn="just"/>
            <a:r>
              <a:rPr lang="es-CO" dirty="0" smtClean="0"/>
              <a:t>Son </a:t>
            </a:r>
            <a:r>
              <a:rPr lang="es-CO" dirty="0"/>
              <a:t>una respuesta a las necesidades que sienten las organizaciones públicas y privadas de mantener a sus colaboradores actualizados, desarrollar programas </a:t>
            </a:r>
            <a:r>
              <a:rPr lang="es-CO" dirty="0" smtClean="0"/>
              <a:t>específicos </a:t>
            </a:r>
            <a:r>
              <a:rPr lang="es-CO" dirty="0"/>
              <a:t>diseñados a la medida de sus requerimientos y lograr que el conocimiento y las mejores prácticas se identifiquen y transfieran de manera formal y </a:t>
            </a:r>
            <a:r>
              <a:rPr lang="es-CO" dirty="0" smtClean="0"/>
              <a:t>continua.</a:t>
            </a:r>
          </a:p>
          <a:p>
            <a:pPr algn="just"/>
            <a:endParaRPr lang="es-CO" dirty="0">
              <a:latin typeface="Candara"/>
              <a:sym typeface="Candara"/>
            </a:endParaRPr>
          </a:p>
          <a:p>
            <a:pPr algn="just"/>
            <a:r>
              <a:rPr lang="es-CO" dirty="0" smtClean="0">
                <a:latin typeface="Candara"/>
                <a:sym typeface="Candara"/>
              </a:rPr>
              <a:t>Responde </a:t>
            </a:r>
            <a:r>
              <a:rPr lang="es-CO" dirty="0">
                <a:latin typeface="Candara"/>
                <a:sym typeface="Candara"/>
              </a:rPr>
              <a:t>de manera integral a requerimientos </a:t>
            </a:r>
            <a:r>
              <a:rPr lang="es-CO" dirty="0" smtClean="0">
                <a:latin typeface="Candara"/>
                <a:sym typeface="Candara"/>
              </a:rPr>
              <a:t>instruccionales específicos, </a:t>
            </a:r>
            <a:r>
              <a:rPr lang="es-CO" dirty="0">
                <a:latin typeface="Candara"/>
                <a:sym typeface="Candara"/>
              </a:rPr>
              <a:t>que son difíciles de alcanzar a través de </a:t>
            </a:r>
            <a:r>
              <a:rPr lang="es-CO" dirty="0" smtClean="0">
                <a:latin typeface="Candara"/>
                <a:sym typeface="Candara"/>
              </a:rPr>
              <a:t>las instituciones </a:t>
            </a:r>
            <a:r>
              <a:rPr lang="es-CO" dirty="0">
                <a:latin typeface="Candara"/>
                <a:sym typeface="Candara"/>
              </a:rPr>
              <a:t>académicas </a:t>
            </a:r>
            <a:r>
              <a:rPr lang="es-CO" dirty="0" smtClean="0">
                <a:latin typeface="Candara"/>
                <a:sym typeface="Candara"/>
              </a:rPr>
              <a:t>tradicionales.</a:t>
            </a:r>
          </a:p>
          <a:p>
            <a:pPr algn="just"/>
            <a:endParaRPr lang="es-CO" dirty="0">
              <a:latin typeface="Candara"/>
              <a:sym typeface="Candara"/>
            </a:endParaRPr>
          </a:p>
          <a:p>
            <a:pPr algn="just"/>
            <a:r>
              <a:rPr lang="es-CO" dirty="0" smtClean="0">
                <a:latin typeface="Candara"/>
                <a:sym typeface="Candara"/>
              </a:rPr>
              <a:t>La </a:t>
            </a:r>
            <a:r>
              <a:rPr lang="es-CO" dirty="0">
                <a:latin typeface="Candara"/>
                <a:sym typeface="Candara"/>
              </a:rPr>
              <a:t>enseñanza </a:t>
            </a:r>
            <a:r>
              <a:rPr lang="es-CO" dirty="0" smtClean="0">
                <a:latin typeface="Candara"/>
                <a:sym typeface="Candara"/>
              </a:rPr>
              <a:t>a </a:t>
            </a:r>
            <a:r>
              <a:rPr lang="es-CO" dirty="0">
                <a:latin typeface="Candara"/>
                <a:sym typeface="Candara"/>
              </a:rPr>
              <a:t>cargo </a:t>
            </a:r>
            <a:r>
              <a:rPr lang="es-CO" dirty="0" smtClean="0">
                <a:latin typeface="Candara"/>
                <a:sym typeface="Candara"/>
              </a:rPr>
              <a:t>de profesionales </a:t>
            </a:r>
            <a:r>
              <a:rPr lang="es-CO" dirty="0">
                <a:latin typeface="Candara"/>
                <a:sym typeface="Candara"/>
              </a:rPr>
              <a:t>internos de </a:t>
            </a:r>
            <a:r>
              <a:rPr lang="es-CO" dirty="0" smtClean="0">
                <a:latin typeface="Candara"/>
                <a:sym typeface="Candara"/>
              </a:rPr>
              <a:t>la Agencia.</a:t>
            </a:r>
          </a:p>
          <a:p>
            <a:pPr algn="just"/>
            <a:endParaRPr lang="es-CO" dirty="0">
              <a:latin typeface="Candara"/>
              <a:sym typeface="Candara"/>
            </a:endParaRPr>
          </a:p>
          <a:p>
            <a:pPr algn="just"/>
            <a:r>
              <a:rPr lang="es-CO" dirty="0" smtClean="0">
                <a:latin typeface="Candara"/>
                <a:sym typeface="Candara"/>
              </a:rPr>
              <a:t>Capacitación </a:t>
            </a:r>
            <a:r>
              <a:rPr lang="es-CO" dirty="0">
                <a:latin typeface="Candara"/>
                <a:sym typeface="Candara"/>
              </a:rPr>
              <a:t>en forma de proyectos de </a:t>
            </a:r>
            <a:r>
              <a:rPr lang="es-CO" dirty="0" smtClean="0">
                <a:latin typeface="Candara"/>
                <a:sym typeface="Candara"/>
              </a:rPr>
              <a:t>aprendizaje, basada en problemas específicos, con enfoque en el desarrollo de competencias y ligado al Plan Institucional de Capacitación - PIC, de acuerdo con la normatividad vigente.</a:t>
            </a:r>
            <a:endParaRPr lang="es-CO" dirty="0">
              <a:latin typeface="Candara"/>
              <a:sym typeface="Candara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C0D9B7-3709-4AA7-BC15-71609CD14C4E}" type="slidenum">
              <a:rPr lang="es-CO" smtClean="0"/>
              <a:pPr/>
              <a:t>3</a:t>
            </a:fld>
            <a:endParaRPr lang="es-CO" dirty="0"/>
          </a:p>
        </p:txBody>
      </p:sp>
      <p:sp>
        <p:nvSpPr>
          <p:cNvPr id="22531" name="Rectangle 8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>
                <a:sym typeface="Museo Sans 500"/>
              </a:rPr>
              <a:t>Antecedentes</a:t>
            </a:r>
            <a:endParaRPr lang="es-ES_tradnl" dirty="0" smtClean="0">
              <a:sym typeface="Museo Sans 500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87113" y="161487"/>
            <a:ext cx="2865368" cy="1188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794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3771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4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2387" y="108818"/>
            <a:ext cx="2865368" cy="1188823"/>
          </a:xfrm>
          <a:prstGeom prst="rect">
            <a:avLst/>
          </a:prstGeom>
        </p:spPr>
      </p:pic>
      <p:sp>
        <p:nvSpPr>
          <p:cNvPr id="10" name="Título 9"/>
          <p:cNvSpPr>
            <a:spLocks noGrp="1"/>
          </p:cNvSpPr>
          <p:nvPr>
            <p:ph type="title"/>
          </p:nvPr>
        </p:nvSpPr>
        <p:spPr>
          <a:xfrm>
            <a:off x="3254829" y="406699"/>
            <a:ext cx="5536744" cy="495854"/>
          </a:xfrm>
        </p:spPr>
        <p:txBody>
          <a:bodyPr/>
          <a:lstStyle/>
          <a:p>
            <a:r>
              <a:rPr lang="es-CO" sz="2800" dirty="0" smtClean="0"/>
              <a:t>Resumen</a:t>
            </a:r>
            <a:r>
              <a:rPr lang="es-CO" sz="2000" dirty="0" smtClean="0"/>
              <a:t/>
            </a:r>
            <a:br>
              <a:rPr lang="es-CO" sz="2000" dirty="0" smtClean="0"/>
            </a:br>
            <a:r>
              <a:rPr lang="es-CO" sz="1400" dirty="0" smtClean="0"/>
              <a:t>Indicadores: </a:t>
            </a:r>
            <a:br>
              <a:rPr lang="es-CO" sz="1400" dirty="0" smtClean="0"/>
            </a:br>
            <a:r>
              <a:rPr lang="es-CO" sz="1200" b="0" dirty="0" smtClean="0">
                <a:solidFill>
                  <a:srgbClr val="FF0000"/>
                </a:solidFill>
              </a:rPr>
              <a:t>1. </a:t>
            </a:r>
            <a:r>
              <a:rPr lang="es-CO" sz="1200" dirty="0" smtClean="0">
                <a:solidFill>
                  <a:srgbClr val="FF0000"/>
                </a:solidFill>
              </a:rPr>
              <a:t>Gestión</a:t>
            </a:r>
            <a:r>
              <a:rPr lang="es-CO" sz="1200" b="0" dirty="0" smtClean="0">
                <a:solidFill>
                  <a:srgbClr val="FF0000"/>
                </a:solidFill>
              </a:rPr>
              <a:t>: 20 programas desarrollados/20 Programas planeados = 100%</a:t>
            </a:r>
            <a:br>
              <a:rPr lang="es-CO" sz="1200" b="0" dirty="0" smtClean="0">
                <a:solidFill>
                  <a:srgbClr val="FF0000"/>
                </a:solidFill>
              </a:rPr>
            </a:br>
            <a:r>
              <a:rPr lang="es-CO" sz="1200" b="0" dirty="0" smtClean="0">
                <a:solidFill>
                  <a:srgbClr val="FF0000"/>
                </a:solidFill>
              </a:rPr>
              <a:t>2. </a:t>
            </a:r>
            <a:r>
              <a:rPr lang="es-CO" sz="1200" dirty="0" smtClean="0">
                <a:solidFill>
                  <a:srgbClr val="FF0000"/>
                </a:solidFill>
              </a:rPr>
              <a:t>Cobertura:  </a:t>
            </a:r>
            <a:r>
              <a:rPr lang="es-CO" sz="1200" b="0" dirty="0" smtClean="0">
                <a:solidFill>
                  <a:srgbClr val="FF0000"/>
                </a:solidFill>
              </a:rPr>
              <a:t>1310 Participaciones / 690 participaciones = 189%</a:t>
            </a:r>
            <a:endParaRPr lang="es-CO" sz="1200" b="0" dirty="0">
              <a:solidFill>
                <a:srgbClr val="FF0000"/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5302" y="1257300"/>
            <a:ext cx="7270757" cy="5421705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312241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2.69891059609000020000E+000&quot;&gt;&lt;m_ppcolschidx val=&quot;0&quot;/&gt;&lt;m_rgb r=&quot;95&quot; g=&quot;b3&quot; b=&quot;d7&quot;/&gt;&lt;/elem&gt;&lt;elem m_fUsage=&quot;2.27611758283289990000E+000&quot;&gt;&lt;m_ppcolschidx val=&quot;0&quot;/&gt;&lt;m_rgb r=&quot;7f&quot; g=&quot;7f&quot; b=&quot;7f&quot;/&gt;&lt;/elem&gt;&lt;elem m_fUsage=&quot;1.94753203454961050000E+000&quot;&gt;&lt;m_ppcolschidx val=&quot;0&quot;/&gt;&lt;m_rgb r=&quot;bf&quot; g=&quot;bf&quot; b=&quot;bf&quot;/&gt;&lt;/elem&gt;&lt;elem m_fUsage=&quot;1.21361826373501590000E+000&quot;&gt;&lt;m_ppcolschidx val=&quot;0&quot;/&gt;&lt;m_rgb r=&quot;36&quot; g=&quot;60&quot; b=&quot;92&quot;/&gt;&lt;/elem&gt;&lt;elem m_fUsage=&quot;1.02635124360039480000E+000&quot;&gt;&lt;m_ppcolschidx val=&quot;0&quot;/&gt;&lt;m_rgb r=&quot;d9&quot; g=&quot;d9&quot; b=&quot;d9&quot;/&gt;&lt;/elem&gt;&lt;elem m_fUsage=&quot;2.88210765068180720000E-001&quot;&gt;&lt;m_ppcolschidx val=&quot;0&quot;/&gt;&lt;m_rgb r=&quot;24&quot; g=&quot;40&quot; b=&quot;61&quot;/&gt;&lt;/elem&gt;&lt;elem m_fUsage=&quot;2.05891132094649100000E-001&quot;&gt;&lt;m_ppcolschidx val=&quot;0&quot;/&gt;&lt;m_rgb r=&quot;a6&quot; g=&quot;a6&quot; b=&quot;a6&quot;/&gt;&lt;/elem&gt;&lt;/m_vecMRU&gt;&lt;/m_mruColor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13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bwo9AthUuE.91gUlFBk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1lz785029W5QenBo_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UfAvxx5U6KroDGBWqzm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B37tIvZEGT8CuoODbv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ZINhujfU6MAa85KtouS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IG4Op1KUyZVFRdStyc2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zuJszGIkGAgfOgAhCJb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5ckO2TiU.KVBhPF5X0I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PkGicEpUmooZjK8gl92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jax1kIXUqsM5.6cUQfU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ab9mNBH0Gcc7hbKbeC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YaRyqNEkGOukg5uv1cO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P9fboXu0.IO8lChEu5o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o1VcRmXEKFaIQRadjjk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gdyCmJ5EGj5KRqCCnA3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R6CLhMO0SjKRPu_O0hu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e.ToiKTUuLsdf6.4v0V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jScBLiuk6KLo0sLxdCt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tlhI8h2Ei_kK1d0trQK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zUZ2V4kSkUAGQ0Il2u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AsFFX1kuGGmmOOH7Og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O9Fm9zFUmjHR0rPyEQ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EyAmG.vU.tyllajF_Oe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ayY3Gk.49_resxvDA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.FdzpqqEieoXdHUEYAM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g_WbIEZUGsQ0lh6fmbH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xux7Nv6Uydg4JgHTthE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e6TteMBEKF3tXkGjWvw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HQrVme_EeqJHHqOdgxD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RbDQmWr02pGTxAMGr5y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mkDcN.YEu75pGj6X.Dk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g_WbIEZUGsQ0lh6fmbH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xux7Nv6Uydg4JgHTthE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CPDM1Nm0.ULHT78o0iA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5l6lrWhUSfZ7CJUHmAr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lhCPHSx0unBsk906R7b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Ql5OiYLE29QVV.CfTU9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4OrOpCUU6qxIVX3yhLE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0k2Vxv4E2IaC27ejpM4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6YG7AWgUWRMd25FpTcU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bGt9aRmU.JzfakDQy1x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z7FBYSI0K.AhFlKogRx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z7FBYSI0K.AhFlKogRx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z7FBYSI0K.AhFlKogRx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z7FBYSI0K.AhFlKogRx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cWsvmEokSaesBeg8dAx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cWsvmEokSaesBeg8dAx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cWsvmEokSaesBeg8dA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7phmuGLkeCwSvWah7N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cWsvmEokSaesBeg8dAx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ILdGTLAUekm5HgCragT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ig1uS5bEq5u2SvP.FIK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g_WbIEZUGsQ0lh6fmbH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xux7Nv6Uydg4JgHTthEA"/>
</p:tagLst>
</file>

<file path=ppt/theme/theme1.xml><?xml version="1.0" encoding="utf-8"?>
<a:theme xmlns:a="http://schemas.openxmlformats.org/drawingml/2006/main" name="PLANTILLA ANI PPT">
  <a:themeElements>
    <a:clrScheme name="ANI2">
      <a:dk1>
        <a:srgbClr val="386295"/>
      </a:dk1>
      <a:lt1>
        <a:sysClr val="window" lastClr="FFFFFF"/>
      </a:lt1>
      <a:dk2>
        <a:srgbClr val="244061"/>
      </a:dk2>
      <a:lt2>
        <a:srgbClr val="B8CCE4"/>
      </a:lt2>
      <a:accent1>
        <a:srgbClr val="D9D9D9"/>
      </a:accent1>
      <a:accent2>
        <a:srgbClr val="A6A6A6"/>
      </a:accent2>
      <a:accent3>
        <a:srgbClr val="7F7F7F"/>
      </a:accent3>
      <a:accent4>
        <a:srgbClr val="424242"/>
      </a:accent4>
      <a:accent5>
        <a:srgbClr val="E36C09"/>
      </a:accent5>
      <a:accent6>
        <a:srgbClr val="366092"/>
      </a:accent6>
      <a:hlink>
        <a:srgbClr val="244061"/>
      </a:hlink>
      <a:folHlink>
        <a:srgbClr val="1C314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48</TotalTime>
  <Words>159</Words>
  <Application>Microsoft Office PowerPoint</Application>
  <PresentationFormat>Presentación en pantalla (4:3)</PresentationFormat>
  <Paragraphs>24</Paragraphs>
  <Slides>4</Slides>
  <Notes>4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</vt:i4>
      </vt:variant>
    </vt:vector>
  </HeadingPairs>
  <TitlesOfParts>
    <vt:vector size="12" baseType="lpstr">
      <vt:lpstr>Arial</vt:lpstr>
      <vt:lpstr>Calibri</vt:lpstr>
      <vt:lpstr>Candara</vt:lpstr>
      <vt:lpstr>Helvetica Neue Bold Condensed</vt:lpstr>
      <vt:lpstr>Impact</vt:lpstr>
      <vt:lpstr>Museo Sans 500</vt:lpstr>
      <vt:lpstr>PLANTILLA ANI PPT</vt:lpstr>
      <vt:lpstr>think-cell Slide</vt:lpstr>
      <vt:lpstr>Presentación de PowerPoint</vt:lpstr>
      <vt:lpstr>Contenido</vt:lpstr>
      <vt:lpstr>Antecedentes</vt:lpstr>
      <vt:lpstr>Resumen Indicadores:  1. Gestión: 20 programas desarrollados/20 Programas planeados = 100% 2. Cobertura:  1310 Participaciones / 690 participaciones = 189%</vt:lpstr>
    </vt:vector>
  </TitlesOfParts>
  <Company>Grizli777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ítulo del documento</dc:title>
  <dc:creator>IVONNE PRADA</dc:creator>
  <cp:lastModifiedBy>Ivonne de la Caridad Prada Medina</cp:lastModifiedBy>
  <cp:revision>58</cp:revision>
  <dcterms:created xsi:type="dcterms:W3CDTF">2015-07-22T15:15:21Z</dcterms:created>
  <dcterms:modified xsi:type="dcterms:W3CDTF">2015-12-02T19:50:37Z</dcterms:modified>
</cp:coreProperties>
</file>